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341" r:id="rId2"/>
    <p:sldId id="277" r:id="rId3"/>
    <p:sldId id="373" r:id="rId4"/>
    <p:sldId id="372" r:id="rId5"/>
    <p:sldId id="279" r:id="rId6"/>
  </p:sldIdLst>
  <p:sldSz cx="12192000" cy="6858000"/>
  <p:notesSz cx="6858000" cy="9144000"/>
  <p:custShowLst>
    <p:custShow name="Custom Show 1" id="0">
      <p:sldLst>
        <p:sld r:id="rId3"/>
      </p:sldLst>
    </p:custShow>
  </p:custShowLst>
  <p:defaultTextStyle>
    <a:defPPr>
      <a:defRPr lang="en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DA5C882-DD17-3FA6-9845-0A3420F32E5D}" name="Naomi Shpirer" initials="NS" userId="b204a26aaeae1eb7" providerId="Windows Live"/>
  <p188:author id="{CC7419C6-9B19-7D3E-15A1-788284576C51}" name="Bar Sobel" initials="BS" userId="S::barsobel@mail.tau.ac.il::ae38e71c-7fef-4007-8d90-23ddeb40e93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FF7"/>
    <a:srgbClr val="E5D5DA"/>
    <a:srgbClr val="F7FDFF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8E4280-4DC6-4C8A-AF48-151337C1E21F}" v="72" dt="2025-10-18T15:05:35.1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61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836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omi Shpirer" userId="b204a26aaeae1eb7" providerId="LiveId" clId="{809BF7AD-B213-49E2-9B6A-6530F16212B7}"/>
    <pc:docChg chg="undo custSel addSld delSld modSld">
      <pc:chgData name="Naomi Shpirer" userId="b204a26aaeae1eb7" providerId="LiveId" clId="{809BF7AD-B213-49E2-9B6A-6530F16212B7}" dt="2025-10-18T15:05:41.633" v="197" actId="1076"/>
      <pc:docMkLst>
        <pc:docMk/>
      </pc:docMkLst>
      <pc:sldChg chg="del">
        <pc:chgData name="Naomi Shpirer" userId="b204a26aaeae1eb7" providerId="LiveId" clId="{809BF7AD-B213-49E2-9B6A-6530F16212B7}" dt="2025-10-18T14:37:38.614" v="0" actId="47"/>
        <pc:sldMkLst>
          <pc:docMk/>
          <pc:sldMk cId="360360448" sldId="257"/>
        </pc:sldMkLst>
      </pc:sldChg>
      <pc:sldChg chg="modSp mod modAnim">
        <pc:chgData name="Naomi Shpirer" userId="b204a26aaeae1eb7" providerId="LiveId" clId="{809BF7AD-B213-49E2-9B6A-6530F16212B7}" dt="2025-10-18T14:55:53.382" v="139" actId="207"/>
        <pc:sldMkLst>
          <pc:docMk/>
          <pc:sldMk cId="728426825" sldId="277"/>
        </pc:sldMkLst>
        <pc:spChg chg="mod">
          <ac:chgData name="Naomi Shpirer" userId="b204a26aaeae1eb7" providerId="LiveId" clId="{809BF7AD-B213-49E2-9B6A-6530F16212B7}" dt="2025-10-18T14:51:33.064" v="76" actId="404"/>
          <ac:spMkLst>
            <pc:docMk/>
            <pc:sldMk cId="728426825" sldId="277"/>
            <ac:spMk id="2" creationId="{80E5F138-612C-87D6-C06E-CD19B8229894}"/>
          </ac:spMkLst>
        </pc:spChg>
        <pc:spChg chg="mod">
          <ac:chgData name="Naomi Shpirer" userId="b204a26aaeae1eb7" providerId="LiveId" clId="{809BF7AD-B213-49E2-9B6A-6530F16212B7}" dt="2025-10-18T14:54:25.126" v="135" actId="1035"/>
          <ac:spMkLst>
            <pc:docMk/>
            <pc:sldMk cId="728426825" sldId="277"/>
            <ac:spMk id="22" creationId="{1D1617FD-4F83-40EA-FCD4-A3A275E83C7D}"/>
          </ac:spMkLst>
        </pc:spChg>
        <pc:graphicFrameChg chg="modGraphic">
          <ac:chgData name="Naomi Shpirer" userId="b204a26aaeae1eb7" providerId="LiveId" clId="{809BF7AD-B213-49E2-9B6A-6530F16212B7}" dt="2025-10-18T14:55:40.023" v="137" actId="207"/>
          <ac:graphicFrameMkLst>
            <pc:docMk/>
            <pc:sldMk cId="728426825" sldId="277"/>
            <ac:graphicFrameMk id="5" creationId="{E72FD486-A909-5932-E8C2-F538429A2AF2}"/>
          </ac:graphicFrameMkLst>
        </pc:graphicFrameChg>
        <pc:graphicFrameChg chg="modGraphic">
          <ac:chgData name="Naomi Shpirer" userId="b204a26aaeae1eb7" providerId="LiveId" clId="{809BF7AD-B213-49E2-9B6A-6530F16212B7}" dt="2025-10-18T14:55:53.382" v="139" actId="207"/>
          <ac:graphicFrameMkLst>
            <pc:docMk/>
            <pc:sldMk cId="728426825" sldId="277"/>
            <ac:graphicFrameMk id="11" creationId="{504A5F1B-AC85-5276-29F5-74C0F45FADAD}"/>
          </ac:graphicFrameMkLst>
        </pc:graphicFrameChg>
      </pc:sldChg>
      <pc:sldChg chg="addSp delSp modSp add del mod setBg">
        <pc:chgData name="Naomi Shpirer" userId="b204a26aaeae1eb7" providerId="LiveId" clId="{809BF7AD-B213-49E2-9B6A-6530F16212B7}" dt="2025-10-18T14:52:26.252" v="90" actId="27636"/>
        <pc:sldMkLst>
          <pc:docMk/>
          <pc:sldMk cId="337536951" sldId="341"/>
        </pc:sldMkLst>
        <pc:spChg chg="mod">
          <ac:chgData name="Naomi Shpirer" userId="b204a26aaeae1eb7" providerId="LiveId" clId="{809BF7AD-B213-49E2-9B6A-6530F16212B7}" dt="2025-10-18T14:40:50.435" v="21"/>
          <ac:spMkLst>
            <pc:docMk/>
            <pc:sldMk cId="337536951" sldId="341"/>
            <ac:spMk id="2" creationId="{0387A6A8-6129-0BB2-0DD4-A2A8401BEE8B}"/>
          </ac:spMkLst>
        </pc:spChg>
        <pc:spChg chg="mod">
          <ac:chgData name="Naomi Shpirer" userId="b204a26aaeae1eb7" providerId="LiveId" clId="{809BF7AD-B213-49E2-9B6A-6530F16212B7}" dt="2025-10-18T14:52:26.252" v="90" actId="27636"/>
          <ac:spMkLst>
            <pc:docMk/>
            <pc:sldMk cId="337536951" sldId="341"/>
            <ac:spMk id="3" creationId="{78F8AFCE-032B-DD1C-A58A-087F7FFA7A14}"/>
          </ac:spMkLst>
        </pc:spChg>
        <pc:spChg chg="mod">
          <ac:chgData name="Naomi Shpirer" userId="b204a26aaeae1eb7" providerId="LiveId" clId="{809BF7AD-B213-49E2-9B6A-6530F16212B7}" dt="2025-10-18T14:40:50.435" v="21"/>
          <ac:spMkLst>
            <pc:docMk/>
            <pc:sldMk cId="337536951" sldId="341"/>
            <ac:spMk id="6" creationId="{37362583-4CF3-8281-1A6D-EBB004D5624A}"/>
          </ac:spMkLst>
        </pc:spChg>
        <pc:spChg chg="add del">
          <ac:chgData name="Naomi Shpirer" userId="b204a26aaeae1eb7" providerId="LiveId" clId="{809BF7AD-B213-49E2-9B6A-6530F16212B7}" dt="2025-10-18T14:40:50.435" v="21"/>
          <ac:spMkLst>
            <pc:docMk/>
            <pc:sldMk cId="337536951" sldId="341"/>
            <ac:spMk id="1033" creationId="{19D32F93-50AC-4C46-A5DB-291C60DDB7BD}"/>
          </ac:spMkLst>
        </pc:spChg>
        <pc:spChg chg="add del">
          <ac:chgData name="Naomi Shpirer" userId="b204a26aaeae1eb7" providerId="LiveId" clId="{809BF7AD-B213-49E2-9B6A-6530F16212B7}" dt="2025-10-18T14:40:50.435" v="21"/>
          <ac:spMkLst>
            <pc:docMk/>
            <pc:sldMk cId="337536951" sldId="341"/>
            <ac:spMk id="1035" creationId="{827DC2C4-B485-428A-BF4A-472D2967F47F}"/>
          </ac:spMkLst>
        </pc:spChg>
        <pc:spChg chg="add del">
          <ac:chgData name="Naomi Shpirer" userId="b204a26aaeae1eb7" providerId="LiveId" clId="{809BF7AD-B213-49E2-9B6A-6530F16212B7}" dt="2025-10-18T14:40:50.435" v="21"/>
          <ac:spMkLst>
            <pc:docMk/>
            <pc:sldMk cId="337536951" sldId="341"/>
            <ac:spMk id="1037" creationId="{EE04B5EB-F158-4507-90DD-BD23620C7CC9}"/>
          </ac:spMkLst>
        </pc:spChg>
        <pc:picChg chg="del">
          <ac:chgData name="Naomi Shpirer" userId="b204a26aaeae1eb7" providerId="LiveId" clId="{809BF7AD-B213-49E2-9B6A-6530F16212B7}" dt="2025-10-18T14:38:35.073" v="5" actId="478"/>
          <ac:picMkLst>
            <pc:docMk/>
            <pc:sldMk cId="337536951" sldId="341"/>
            <ac:picMk id="4" creationId="{E39E25DC-BCDA-0150-F166-A7285B018DCF}"/>
          </ac:picMkLst>
        </pc:picChg>
        <pc:picChg chg="add mod">
          <ac:chgData name="Naomi Shpirer" userId="b204a26aaeae1eb7" providerId="LiveId" clId="{809BF7AD-B213-49E2-9B6A-6530F16212B7}" dt="2025-10-18T14:40:11.329" v="13" actId="1076"/>
          <ac:picMkLst>
            <pc:docMk/>
            <pc:sldMk cId="337536951" sldId="341"/>
            <ac:picMk id="1026" creationId="{D46F21FF-676A-2783-9FBA-D98B9279F87A}"/>
          </ac:picMkLst>
        </pc:picChg>
        <pc:picChg chg="add mod ord">
          <ac:chgData name="Naomi Shpirer" userId="b204a26aaeae1eb7" providerId="LiveId" clId="{809BF7AD-B213-49E2-9B6A-6530F16212B7}" dt="2025-10-18T14:41:51.794" v="25" actId="1076"/>
          <ac:picMkLst>
            <pc:docMk/>
            <pc:sldMk cId="337536951" sldId="341"/>
            <ac:picMk id="1028" creationId="{97A66975-0115-E8DB-37B4-E367BBCF9EB9}"/>
          </ac:picMkLst>
        </pc:picChg>
      </pc:sldChg>
      <pc:sldChg chg="delSp modSp mod">
        <pc:chgData name="Naomi Shpirer" userId="b204a26aaeae1eb7" providerId="LiveId" clId="{809BF7AD-B213-49E2-9B6A-6530F16212B7}" dt="2025-10-18T15:05:41.633" v="197" actId="1076"/>
        <pc:sldMkLst>
          <pc:docMk/>
          <pc:sldMk cId="3633714075" sldId="372"/>
        </pc:sldMkLst>
        <pc:spChg chg="mod">
          <ac:chgData name="Naomi Shpirer" userId="b204a26aaeae1eb7" providerId="LiveId" clId="{809BF7AD-B213-49E2-9B6A-6530F16212B7}" dt="2025-10-18T15:05:41.633" v="197" actId="1076"/>
          <ac:spMkLst>
            <pc:docMk/>
            <pc:sldMk cId="3633714075" sldId="372"/>
            <ac:spMk id="3" creationId="{13F16D96-FCC8-8AC1-C6B6-DDD9BA565001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14" creationId="{4DD7F571-7878-F5C6-FDD0-DE4310F0496C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19" creationId="{840BAD78-670A-0136-0779-4280B4258380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20" creationId="{0D0DE0B8-18F6-BFAE-BAB7-F30C632E4447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27" creationId="{22FA08AD-0720-040F-4AB3-07961693D0EF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47" creationId="{58611616-6670-7A03-DEF3-B83D4BB28DF7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48" creationId="{1E761E2E-3FF5-0029-B2F8-0E59CB2BAEE3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49" creationId="{EB4EF790-849A-A2A5-0B19-6A771101D6D5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59" creationId="{AD430AD1-3CA1-215D-A5FD-75402AAC2A7A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60" creationId="{4B65FC2D-02BA-5288-340B-56D1AE3D52BE}"/>
          </ac:spMkLst>
        </pc:spChg>
        <pc:spChg chg="del">
          <ac:chgData name="Naomi Shpirer" userId="b204a26aaeae1eb7" providerId="LiveId" clId="{809BF7AD-B213-49E2-9B6A-6530F16212B7}" dt="2025-10-18T15:05:35.131" v="196" actId="478"/>
          <ac:spMkLst>
            <pc:docMk/>
            <pc:sldMk cId="3633714075" sldId="372"/>
            <ac:spMk id="73" creationId="{7A7B6EBD-D48C-FDEE-E15F-94BAB744C703}"/>
          </ac:spMkLst>
        </pc:spChg>
        <pc:graphicFrameChg chg="del">
          <ac:chgData name="Naomi Shpirer" userId="b204a26aaeae1eb7" providerId="LiveId" clId="{809BF7AD-B213-49E2-9B6A-6530F16212B7}" dt="2025-10-18T15:05:19.611" v="195" actId="478"/>
          <ac:graphicFrameMkLst>
            <pc:docMk/>
            <pc:sldMk cId="3633714075" sldId="372"/>
            <ac:graphicFrameMk id="39" creationId="{8B23FC60-E1D7-2359-020C-26077C54D152}"/>
          </ac:graphicFrameMkLst>
        </pc:graphicFrameChg>
      </pc:sldChg>
      <pc:sldChg chg="modSp mod">
        <pc:chgData name="Naomi Shpirer" userId="b204a26aaeae1eb7" providerId="LiveId" clId="{809BF7AD-B213-49E2-9B6A-6530F16212B7}" dt="2025-10-18T15:03:22.085" v="194" actId="20577"/>
        <pc:sldMkLst>
          <pc:docMk/>
          <pc:sldMk cId="2572200266" sldId="373"/>
        </pc:sldMkLst>
        <pc:spChg chg="mod">
          <ac:chgData name="Naomi Shpirer" userId="b204a26aaeae1eb7" providerId="LiveId" clId="{809BF7AD-B213-49E2-9B6A-6530F16212B7}" dt="2025-10-18T15:03:22.085" v="194" actId="20577"/>
          <ac:spMkLst>
            <pc:docMk/>
            <pc:sldMk cId="2572200266" sldId="373"/>
            <ac:spMk id="4" creationId="{331A2C25-0428-C4B6-4373-B1F453BD855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Binary_Worksheet1.xlsb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799999999999999E-2"/>
          <c:y val="6.3025210084033615E-3"/>
          <c:w val="0.97919999999999996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D911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</c:v>
                </c:pt>
                <c:pt idx="1">
                  <c:v>8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5-40C2-A64C-6CD7FA6C6CEB}"/>
            </c:ext>
          </c:extLst>
        </c:ser>
        <c:ser>
          <c:idx val="1"/>
          <c:order val="1"/>
          <c:spPr>
            <a:solidFill>
              <a:srgbClr val="BD6F0F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EB5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D35-40C2-A64C-6CD7FA6C6CEB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15</c:v>
                </c:pt>
                <c:pt idx="1">
                  <c:v>9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35-40C2-A64C-6CD7FA6C6CEB}"/>
            </c:ext>
          </c:extLst>
        </c:ser>
        <c:ser>
          <c:idx val="2"/>
          <c:order val="2"/>
          <c:spPr>
            <a:solidFill>
              <a:srgbClr val="6B3709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CF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D35-40C2-A64C-6CD7FA6C6CEB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10</c:v>
                </c:pt>
                <c:pt idx="1">
                  <c:v>8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35-40C2-A64C-6CD7FA6C6CEB}"/>
            </c:ext>
          </c:extLst>
        </c:ser>
        <c:ser>
          <c:idx val="3"/>
          <c:order val="3"/>
          <c:spPr>
            <a:solidFill>
              <a:srgbClr val="FEB56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193F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D35-40C2-A64C-6CD7FA6C6CEB}"/>
              </c:ext>
            </c:extLst>
          </c:dPt>
          <c:dPt>
            <c:idx val="2"/>
            <c:invertIfNegative val="0"/>
            <c:bubble3D val="0"/>
            <c:spPr>
              <a:solidFill>
                <a:srgbClr val="3366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D35-40C2-A64C-6CD7FA6C6CEB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6</c:v>
                </c:pt>
                <c:pt idx="1">
                  <c:v>25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D35-40C2-A64C-6CD7FA6C6CEB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6B1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AD35-40C2-A64C-6CD7FA6C6CEB}"/>
              </c:ext>
            </c:extLst>
          </c:dPt>
          <c:val>
            <c:numRef>
              <c:f>Sheet1!$A$5:$C$5</c:f>
              <c:numCache>
                <c:formatCode>General</c:formatCode>
                <c:ptCount val="3"/>
                <c:pt idx="0">
                  <c:v>5</c:v>
                </c:pt>
                <c:pt idx="1">
                  <c:v>7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5-40C2-A64C-6CD7FA6C6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675711216"/>
        <c:axId val="1"/>
      </c:barChart>
      <c:catAx>
        <c:axId val="675711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cmpd="sng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5711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52826758771132E-3"/>
          <c:y val="2.7310924369747899E-2"/>
          <c:w val="0.98109434648245775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8FD-4006-966D-E212995E1D57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7.0000000000000009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FD-4006-966D-E212995E1D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63681632"/>
        <c:axId val="1"/>
      </c:barChart>
      <c:catAx>
        <c:axId val="1263681632"/>
        <c:scaling>
          <c:orientation val="minMax"/>
        </c:scaling>
        <c:delete val="0"/>
        <c:axPos val="b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IL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IL"/>
          </a:p>
        </c:txPr>
        <c:crossAx val="1263681632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en-I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38FB6-40FC-48F8-AAEB-910FE864CA10}" type="datetimeFigureOut">
              <a:rPr lang="en-IL" smtClean="0"/>
              <a:t>15/10/2025</a:t>
            </a:fld>
            <a:endParaRPr lang="en-I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867FC1-E073-4B9E-9081-E45AA0FDB090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595530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98487-8A4F-4EF2-1E5D-3688C58F4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AE232-EB86-C7FB-A2EB-099C2BDC35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E16B77-FE1B-6A67-385F-7571E06669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2C5B5B-2F0D-0A2C-E8F5-97D650CEE1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DC8577-57D5-46AA-BB7D-8B740AE5788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014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DC8577-57D5-46AA-BB7D-8B740AE5788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90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EC9E6-295F-4C80-DAAA-FC2E26513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CE2860-866E-9D89-D249-73AFC6414A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CD4A9B-784A-C154-9DCE-8C2F88404B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AD462-74A2-8001-CBBE-1A18C722A9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DC8577-57D5-46AA-BB7D-8B740AE5788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662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DC8577-57D5-46AA-BB7D-8B740AE5788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960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175F1-2284-A63C-7232-43E3E6099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CCAA92-5B88-61CB-691A-FF8CCFD6C6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4E5FE8-47D0-4AD4-A16F-6D919B480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D57A25-0C7F-E1E6-AFAD-9713153D6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B41092-0587-3A00-01C5-E1B378095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273340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E80DF-6D18-D3E9-0831-E0F252249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E381BB-3F15-63A7-DD9A-24C119FC69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AA220-ECBD-A681-D743-08E0424AA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67E8AE-05EF-A47C-A0ED-8A6478FCE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1073B-9F75-2BE1-1AD1-73BCAEA39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065558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08DD1B-A43B-8DB2-319B-01189DA9E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ED3544-553E-1410-354E-35CCFAA9D9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8659C-52E4-1113-EC2F-036EBB30A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C062D6-5FE4-0CF5-ECA3-445E09146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F49A60-2223-55CB-C672-B3C96AC9E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786922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Un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6E6372D-70B9-52CE-BA6E-10D95660A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3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E6372D-70B9-52CE-BA6E-10D95660A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CAF0B70-D221-424B-6545-42889330A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584" y="201168"/>
            <a:ext cx="11228832" cy="630936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/>
              <a:t>Title / taglin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501FDD-B8D7-4B8C-D338-BE838DBA8945}"/>
              </a:ext>
            </a:extLst>
          </p:cNvPr>
          <p:cNvSpPr/>
          <p:nvPr userDrawn="1"/>
        </p:nvSpPr>
        <p:spPr bwMode="auto">
          <a:xfrm>
            <a:off x="481584" y="841248"/>
            <a:ext cx="11228832" cy="36000"/>
          </a:xfrm>
          <a:prstGeom prst="rect">
            <a:avLst/>
          </a:prstGeom>
          <a:gradFill>
            <a:gsLst>
              <a:gs pos="0">
                <a:srgbClr val="1A9AFA"/>
              </a:gs>
              <a:gs pos="100000">
                <a:srgbClr val="072E65"/>
              </a:gs>
            </a:gsLst>
            <a:lin ang="0" scaled="0"/>
          </a:gradFill>
        </p:spPr>
        <p:txBody>
          <a:bodyPr vert="horz" lIns="0" tIns="0" rIns="0" bIns="0" rtlCol="0" anchor="t" anchorCtr="0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1A9AFA"/>
              </a:buClr>
              <a:buSzPct val="100000"/>
              <a:buFont typeface="Wingdings" pitchFamily="2" charset="2"/>
              <a:buNone/>
              <a:tabLst/>
            </a:pPr>
            <a:endParaRPr kumimoji="0" lang="en-US" sz="800" b="0" i="0" u="none" strike="noStrike" cap="none" spc="0" normalizeH="0" baseline="0">
              <a:ln>
                <a:noFill/>
              </a:ln>
              <a:solidFill>
                <a:srgbClr val="191924"/>
              </a:solidFill>
              <a:effectLst/>
              <a:uLnTx/>
              <a:uFillTx/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82107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1AC4FA"/>
          </p15:clr>
        </p15:guide>
        <p15:guide id="2" pos="7680">
          <p15:clr>
            <a:srgbClr val="1AC4FA"/>
          </p15:clr>
        </p15:guide>
        <p15:guide id="3" pos="302">
          <p15:clr>
            <a:srgbClr val="1AC4FA"/>
          </p15:clr>
        </p15:guide>
        <p15:guide id="4" pos="760">
          <p15:clr>
            <a:srgbClr val="1AC4FA"/>
          </p15:clr>
        </p15:guide>
        <p15:guide id="5" pos="904">
          <p15:clr>
            <a:srgbClr val="1AC4FA"/>
          </p15:clr>
        </p15:guide>
        <p15:guide id="6" pos="1361">
          <p15:clr>
            <a:srgbClr val="1AC4FA"/>
          </p15:clr>
        </p15:guide>
        <p15:guide id="7" pos="1505">
          <p15:clr>
            <a:srgbClr val="1AC4FA"/>
          </p15:clr>
        </p15:guide>
        <p15:guide id="8" pos="1963">
          <p15:clr>
            <a:srgbClr val="1AC4FA"/>
          </p15:clr>
        </p15:guide>
        <p15:guide id="9" pos="2107">
          <p15:clr>
            <a:srgbClr val="1AC4FA"/>
          </p15:clr>
        </p15:guide>
        <p15:guide id="10" pos="2564">
          <p15:clr>
            <a:srgbClr val="1AC4FA"/>
          </p15:clr>
        </p15:guide>
        <p15:guide id="11" pos="2708">
          <p15:clr>
            <a:srgbClr val="1AC4FA"/>
          </p15:clr>
        </p15:guide>
        <p15:guide id="12" pos="3166">
          <p15:clr>
            <a:srgbClr val="1AC4FA"/>
          </p15:clr>
        </p15:guide>
        <p15:guide id="13" pos="3310">
          <p15:clr>
            <a:srgbClr val="1AC4FA"/>
          </p15:clr>
        </p15:guide>
        <p15:guide id="14" pos="3768">
          <p15:clr>
            <a:srgbClr val="1AC4FA"/>
          </p15:clr>
        </p15:guide>
        <p15:guide id="15" pos="3912">
          <p15:clr>
            <a:srgbClr val="1AC4FA"/>
          </p15:clr>
        </p15:guide>
        <p15:guide id="16" pos="4369">
          <p15:clr>
            <a:srgbClr val="1AC4FA"/>
          </p15:clr>
        </p15:guide>
        <p15:guide id="17" pos="4513">
          <p15:clr>
            <a:srgbClr val="1AC4FA"/>
          </p15:clr>
        </p15:guide>
        <p15:guide id="18" pos="4971">
          <p15:clr>
            <a:srgbClr val="1AC4FA"/>
          </p15:clr>
        </p15:guide>
        <p15:guide id="19" pos="5115">
          <p15:clr>
            <a:srgbClr val="1AC4FA"/>
          </p15:clr>
        </p15:guide>
        <p15:guide id="20" pos="5572">
          <p15:clr>
            <a:srgbClr val="1AC4FA"/>
          </p15:clr>
        </p15:guide>
        <p15:guide id="21" pos="5716">
          <p15:clr>
            <a:srgbClr val="1AC4FA"/>
          </p15:clr>
        </p15:guide>
        <p15:guide id="22" pos="6174">
          <p15:clr>
            <a:srgbClr val="1AC4FA"/>
          </p15:clr>
        </p15:guide>
        <p15:guide id="23" pos="6318">
          <p15:clr>
            <a:srgbClr val="1AC4FA"/>
          </p15:clr>
        </p15:guide>
        <p15:guide id="24" pos="6776">
          <p15:clr>
            <a:srgbClr val="1AC4FA"/>
          </p15:clr>
        </p15:guide>
        <p15:guide id="25" pos="6920">
          <p15:clr>
            <a:srgbClr val="1AC4FA"/>
          </p15:clr>
        </p15:guide>
        <p15:guide id="26" pos="7377">
          <p15:clr>
            <a:srgbClr val="1AC4FA"/>
          </p15:clr>
        </p15:guide>
        <p15:guide id="27" orient="horz">
          <p15:clr>
            <a:srgbClr val="1AC4FA"/>
          </p15:clr>
        </p15:guide>
        <p15:guide id="28" orient="horz" pos="4320">
          <p15:clr>
            <a:srgbClr val="1AC4FA"/>
          </p15:clr>
        </p15:guide>
        <p15:guide id="29" orient="horz" pos="835">
          <p15:clr>
            <a:srgbClr val="1AC4FA"/>
          </p15:clr>
        </p15:guide>
        <p15:guide id="30" orient="horz" pos="3888">
          <p15:clr>
            <a:srgbClr val="1AC4FA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F2D8B-25A3-D987-1DB3-7AEEF1B0F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BC209-51FF-6CE6-DFA4-768AD495F3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A4E195-EE9E-8021-72FE-55D400F6C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3ADD7A-52B9-4024-51E7-B00641324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1EB2D-A0A2-7A14-F3BA-3530380F5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57801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9F6FE7-C2F6-CB90-B77A-D9614615B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188CD9-79C3-C6D2-99B0-94B62863EA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DFDF66-9FFA-5E66-8B35-0890A0B27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EDA62-748A-A46F-4B2B-116DE108C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3FA00-5B6A-B862-ECA4-DBB1B3EE6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833360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03E56-38AE-C92F-2EEA-4ED536AB5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790A23-736D-BA15-F581-E6850B7D0C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431A71-023A-662C-B2CA-78B1D0C860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A43D16-9E00-9B2E-56C7-715D99764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99B0E3-B516-9303-C6BF-C15628FB1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924225-CBA4-9703-5BEF-89BE378CD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8481214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C7311-6DD7-CC10-E88B-C6AB37727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5B028-1129-4CF4-4945-CACCC311D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E356A9-B660-210E-03CE-C1294907DA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22F10D-882C-190D-A833-EB7AA1DCB2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268FF-E8BE-59EF-B11C-D42CFAAEB2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02C12-CF5E-A175-DE82-D279CDFF7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5CD8A3-461C-BC3A-9AEA-C99FD6CAE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DC113F-C0F2-6472-5859-B6B297459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012194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EA42F-EC5D-AF56-27B2-764119E72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8E3D1E-CB5E-A575-CE5D-072358F25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8A0BAE-1D45-62F6-81AB-FD116A493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4A5915-DE4E-0E6B-E002-63A11AE1E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774972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07E58B-DBBF-0F99-E48E-8AE83EB1F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2A1F0B-522E-C8F6-8E15-4284BCA53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96B1A0-E984-9215-7BCB-CB2A0339B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628178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E0AD5-B2B0-6CC4-2868-AAA64CC48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4B47CF-4AAF-25F8-0DFC-EA97E7207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7C2F43-751F-2DB6-B8C3-CEA159399D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6835EE-4E36-0B19-CBF8-58A6D9431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FB06D-866F-01AC-3AD1-386FAB526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94D712-E87B-8A29-69A9-23E09000B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363594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6F04D-AF00-5376-402A-60FF93045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6A504E-6434-9D46-41BE-DEADDA9074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39C58C-78C8-9408-4741-4C0B5503D1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CED4F7-F4E6-13D1-F358-0D455A19B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CDB7BD-DC3E-E830-E8D4-15EC42CB0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F02944-F9A6-9694-56E9-09EA4C111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30636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BFC280-3020-6FA1-3534-F566D3A93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DF9086-EF09-9FF7-D970-325DD2CE5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4B3B08-0E87-57E0-747F-5C1E12211C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BA5DAC-2B28-1595-799E-871F53DF14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7A18A-D35B-273E-8977-D8FFC0F3F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8F7A46-AFB6-4901-858D-172240B760E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63796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oleObject" Target="../embeddings/oleObject3.bin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notesSlide" Target="../notesSlides/notesSlide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slideLayout" Target="../slideLayouts/slideLayout12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chart" Target="../charts/chart1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image" Target="../media/image4.emf"/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7.xml"/><Relationship Id="rId7" Type="http://schemas.openxmlformats.org/officeDocument/2006/relationships/oleObject" Target="../embeddings/oleObject4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8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chart" Target="../charts/chart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3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oleObject" Target="../embeddings/oleObject5.bin"/><Relationship Id="rId5" Type="http://schemas.openxmlformats.org/officeDocument/2006/relationships/tags" Target="../tags/tag53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7A6A8-6129-0BB2-0DD4-A2A8401BE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6892" y="2384638"/>
            <a:ext cx="9144000" cy="805761"/>
          </a:xfrm>
        </p:spPr>
        <p:txBody>
          <a:bodyPr>
            <a:normAutofit fontScale="90000"/>
          </a:bodyPr>
          <a:lstStyle/>
          <a:p>
            <a:br>
              <a:rPr lang="he-IL" sz="48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he-IL" sz="36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הצגת הממונה על התחרות הגב' מיכל כהן</a:t>
            </a:r>
            <a:endParaRPr lang="en-IL" sz="4800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F8AFCE-032B-DD1C-A58A-087F7FFA7A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86892" y="3799002"/>
            <a:ext cx="9144000" cy="1679883"/>
          </a:xfrm>
        </p:spPr>
        <p:txBody>
          <a:bodyPr>
            <a:normAutofit fontScale="92500" lnSpcReduction="10000"/>
          </a:bodyPr>
          <a:lstStyle/>
          <a:p>
            <a:r>
              <a:rPr lang="he-IL" dirty="0">
                <a:latin typeface="Segoe UI" panose="020B0502040204020203" pitchFamily="34" charset="0"/>
                <a:cs typeface="Segoe UI" panose="020B0502040204020203" pitchFamily="34" charset="0"/>
              </a:rPr>
              <a:t>כנס 20 שנה לוועדת בכר</a:t>
            </a:r>
          </a:p>
          <a:p>
            <a:r>
              <a:rPr lang="he-IL" dirty="0">
                <a:latin typeface="Segoe UI" panose="020B0502040204020203" pitchFamily="34" charset="0"/>
                <a:cs typeface="Segoe UI" panose="020B0502040204020203" pitchFamily="34" charset="0"/>
              </a:rPr>
              <a:t>20 באוקטובר 2025</a:t>
            </a:r>
          </a:p>
          <a:p>
            <a:endParaRPr lang="he-IL" sz="2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he-IL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ד"ר נעמי שפירר בלפר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362583-4CF3-8281-1A6D-EBB004D56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7A46-AFB6-4901-858D-172240B760E7}" type="slidenum">
              <a:rPr lang="en-IL" smtClean="0"/>
              <a:t>1</a:t>
            </a:fld>
            <a:endParaRPr lang="en-IL" dirty="0"/>
          </a:p>
        </p:txBody>
      </p:sp>
      <p:pic>
        <p:nvPicPr>
          <p:cNvPr id="1028" name="Picture 4" descr="לוגויים פקולטות ובתי ספר | המשרד לעיצוב גרפי | אוניברסיטת תל אביב">
            <a:extLst>
              <a:ext uri="{FF2B5EF4-FFF2-40B4-BE49-F238E27FC236}">
                <a16:creationId xmlns:a16="http://schemas.microsoft.com/office/drawing/2014/main" id="{97A66975-0115-E8DB-37B4-E367BBCF9E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394" y="33268"/>
            <a:ext cx="5921729" cy="1345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536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34A658-9CF8-6C58-F2BC-5E7BCA2FB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638951097334278062">
            <a:extLst>
              <a:ext uri="{FF2B5EF4-FFF2-40B4-BE49-F238E27FC236}">
                <a16:creationId xmlns:a16="http://schemas.microsoft.com/office/drawing/2014/main" id="{E72FD486-A909-5932-E8C2-F538429A2AF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229547"/>
              </p:ext>
            </p:extLst>
          </p:nvPr>
        </p:nvGraphicFramePr>
        <p:xfrm>
          <a:off x="7278990" y="2166824"/>
          <a:ext cx="4431427" cy="3200400"/>
        </p:xfrm>
        <a:graphic>
          <a:graphicData uri="http://schemas.openxmlformats.org/drawingml/2006/table">
            <a:tbl>
              <a:tblPr firstRow="1" bandRow="1"/>
              <a:tblGrid>
                <a:gridCol w="1271627">
                  <a:extLst>
                    <a:ext uri="{9D8B030D-6E8A-4147-A177-3AD203B41FA5}">
                      <a16:colId xmlns:a16="http://schemas.microsoft.com/office/drawing/2014/main" val="487194658"/>
                    </a:ext>
                  </a:extLst>
                </a:gridCol>
                <a:gridCol w="1271627">
                  <a:extLst>
                    <a:ext uri="{9D8B030D-6E8A-4147-A177-3AD203B41FA5}">
                      <a16:colId xmlns:a16="http://schemas.microsoft.com/office/drawing/2014/main" val="3476187185"/>
                    </a:ext>
                  </a:extLst>
                </a:gridCol>
                <a:gridCol w="1888173">
                  <a:extLst>
                    <a:ext uri="{9D8B030D-6E8A-4147-A177-3AD203B41FA5}">
                      <a16:colId xmlns:a16="http://schemas.microsoft.com/office/drawing/2014/main" val="1306627617"/>
                    </a:ext>
                  </a:extLst>
                </a:gridCol>
              </a:tblGrid>
              <a:tr h="528115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חברות ביטוח/פנסיה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בנקים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429890"/>
                  </a:ext>
                </a:extLst>
              </a:tr>
              <a:tr h="428834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678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פיקדונות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24294"/>
                  </a:ext>
                </a:extLst>
              </a:tr>
              <a:tr h="428834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75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קרנות נאמנות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291120"/>
                  </a:ext>
                </a:extLst>
              </a:tr>
              <a:tr h="428834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165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קופות גמל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38302"/>
                  </a:ext>
                </a:extLst>
              </a:tr>
              <a:tr h="428834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5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kern="120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n-US" sz="1600" b="1" kern="120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תיק משתתף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059273"/>
                  </a:ext>
                </a:extLst>
              </a:tr>
              <a:tr h="528115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9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kern="120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n-US" sz="1600" b="1" kern="120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פנסיה (קרנות חדשות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536507"/>
                  </a:ext>
                </a:extLst>
              </a:tr>
              <a:tr h="428834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77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918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031088"/>
                  </a:ext>
                </a:extLst>
              </a:tr>
            </a:tbl>
          </a:graphicData>
        </a:graphic>
      </p:graphicFrame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F571971-C78C-BDAF-A627-71EC2482AE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571971-C78C-BDAF-A627-71EC2482A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E5F138-612C-87D6-C06E-CD19B8229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pPr algn="r" rtl="1"/>
            <a:r>
              <a:rPr lang="he-IL" sz="3200" dirty="0">
                <a:cs typeface="+mn-cs"/>
              </a:rPr>
              <a:t>חלוקת הנכסים הפיננסים אז והיום  </a:t>
            </a:r>
            <a:r>
              <a:rPr lang="he-IL" sz="1800" dirty="0">
                <a:cs typeface="+mn-cs"/>
              </a:rPr>
              <a:t>(מיליארדי ש"ח)</a:t>
            </a:r>
            <a:endParaRPr lang="en-US" sz="3200" dirty="0">
              <a:cs typeface="+mn-cs"/>
            </a:endParaRPr>
          </a:p>
        </p:txBody>
      </p:sp>
      <p:grpSp>
        <p:nvGrpSpPr>
          <p:cNvPr id="6" name="n__Long vertical takeaway_6389510971479804191">
            <a:extLst>
              <a:ext uri="{FF2B5EF4-FFF2-40B4-BE49-F238E27FC236}">
                <a16:creationId xmlns:a16="http://schemas.microsoft.com/office/drawing/2014/main" id="{2BCD727B-2F5A-A612-3C28-251655EB64A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658128" y="2285902"/>
            <a:ext cx="471330" cy="3200400"/>
            <a:chOff x="5950282" y="2201862"/>
            <a:chExt cx="344303" cy="32004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2C55CCA-4DE9-C747-6437-DF73D721B176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201862"/>
              <a:ext cx="0" cy="3200400"/>
            </a:xfrm>
            <a:prstGeom prst="line">
              <a:avLst/>
            </a:prstGeom>
            <a:ln w="9525">
              <a:solidFill>
                <a:srgbClr val="74748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FB8E0BC-B38B-7D6F-2DE6-4C7E05230675}"/>
                </a:ext>
              </a:extLst>
            </p:cNvPr>
            <p:cNvGrpSpPr/>
            <p:nvPr/>
          </p:nvGrpSpPr>
          <p:grpSpPr>
            <a:xfrm>
              <a:off x="5950282" y="3479289"/>
              <a:ext cx="344303" cy="461915"/>
              <a:chOff x="3744687" y="2319183"/>
              <a:chExt cx="344483" cy="462156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7AB129E3-3C68-7475-C3BB-62D608ACC986}"/>
                  </a:ext>
                </a:extLst>
              </p:cNvPr>
              <p:cNvSpPr/>
              <p:nvPr/>
            </p:nvSpPr>
            <p:spPr>
              <a:xfrm>
                <a:off x="3744687" y="2319183"/>
                <a:ext cx="344483" cy="462156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Graphic 16">
                <a:extLst>
                  <a:ext uri="{FF2B5EF4-FFF2-40B4-BE49-F238E27FC236}">
                    <a16:creationId xmlns:a16="http://schemas.microsoft.com/office/drawing/2014/main" id="{88D74F64-10D8-A7CA-2D62-88C246EE9AAF}"/>
                  </a:ext>
                </a:extLst>
              </p:cNvPr>
              <p:cNvSpPr/>
              <p:nvPr/>
            </p:nvSpPr>
            <p:spPr>
              <a:xfrm rot="16026282" flipV="1">
                <a:off x="3778756" y="2510628"/>
                <a:ext cx="209122" cy="110512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 dirty="0"/>
              </a:p>
            </p:txBody>
          </p:sp>
        </p:grpSp>
      </p:grpSp>
      <p:graphicFrame>
        <p:nvGraphicFramePr>
          <p:cNvPr id="11" name="Table 6389510949490577250">
            <a:extLst>
              <a:ext uri="{FF2B5EF4-FFF2-40B4-BE49-F238E27FC236}">
                <a16:creationId xmlns:a16="http://schemas.microsoft.com/office/drawing/2014/main" id="{504A5F1B-AC85-5276-29F5-74C0F45FADA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2424563"/>
              </p:ext>
            </p:extLst>
          </p:nvPr>
        </p:nvGraphicFramePr>
        <p:xfrm>
          <a:off x="293404" y="2166824"/>
          <a:ext cx="6267658" cy="3090747"/>
        </p:xfrm>
        <a:graphic>
          <a:graphicData uri="http://schemas.openxmlformats.org/drawingml/2006/table">
            <a:tbl>
              <a:tblPr firstRow="1" bandRow="1"/>
              <a:tblGrid>
                <a:gridCol w="1461172">
                  <a:extLst>
                    <a:ext uri="{9D8B030D-6E8A-4147-A177-3AD203B41FA5}">
                      <a16:colId xmlns:a16="http://schemas.microsoft.com/office/drawing/2014/main" val="510179193"/>
                    </a:ext>
                  </a:extLst>
                </a:gridCol>
                <a:gridCol w="1461172">
                  <a:extLst>
                    <a:ext uri="{9D8B030D-6E8A-4147-A177-3AD203B41FA5}">
                      <a16:colId xmlns:a16="http://schemas.microsoft.com/office/drawing/2014/main" val="487194658"/>
                    </a:ext>
                  </a:extLst>
                </a:gridCol>
                <a:gridCol w="1461172">
                  <a:extLst>
                    <a:ext uri="{9D8B030D-6E8A-4147-A177-3AD203B41FA5}">
                      <a16:colId xmlns:a16="http://schemas.microsoft.com/office/drawing/2014/main" val="3476187185"/>
                    </a:ext>
                  </a:extLst>
                </a:gridCol>
                <a:gridCol w="1884142">
                  <a:extLst>
                    <a:ext uri="{9D8B030D-6E8A-4147-A177-3AD203B41FA5}">
                      <a16:colId xmlns:a16="http://schemas.microsoft.com/office/drawing/2014/main" val="1306627617"/>
                    </a:ext>
                  </a:extLst>
                </a:gridCol>
              </a:tblGrid>
              <a:tr h="51002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בתי השקעות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חברות ביטוח/פנסיה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בנקים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429890"/>
                  </a:ext>
                </a:extLst>
              </a:tr>
              <a:tr h="41414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1,900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פיקדונות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24294"/>
                  </a:ext>
                </a:extLst>
              </a:tr>
              <a:tr h="41414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334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קרנות נאמנות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291120"/>
                  </a:ext>
                </a:extLst>
              </a:tr>
              <a:tr h="41414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290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קופות גמל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38302"/>
                  </a:ext>
                </a:extLst>
              </a:tr>
              <a:tr h="41414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530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תיק משתתף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059273"/>
                  </a:ext>
                </a:extLst>
              </a:tr>
              <a:tr h="51002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9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80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260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9AFA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פנסיה (קרנות חדשות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536507"/>
                  </a:ext>
                </a:extLst>
              </a:tr>
              <a:tr h="414141"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951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,957</a:t>
                      </a: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ct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r>
                        <a:rPr lang="he-IL" sz="16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</a:rPr>
                        <a:t>1,900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26000" algn="r">
                        <a:buClr>
                          <a:srgbClr val="1A9AFA"/>
                        </a:buClr>
                        <a:buSzPct val="100000"/>
                        <a:buFontTx/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935" marR="7193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031088"/>
                  </a:ext>
                </a:extLst>
              </a:tr>
            </a:tbl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5E0442B2-6214-89FC-F45A-C705560FEE77}"/>
              </a:ext>
            </a:extLst>
          </p:cNvPr>
          <p:cNvSpPr txBox="1">
            <a:spLocks/>
          </p:cNvSpPr>
          <p:nvPr/>
        </p:nvSpPr>
        <p:spPr>
          <a:xfrm>
            <a:off x="7439025" y="1183996"/>
            <a:ext cx="2814066" cy="63093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rtl="1"/>
            <a:r>
              <a:rPr lang="he-IL" sz="2000" dirty="0">
                <a:solidFill>
                  <a:schemeClr val="accent1">
                    <a:lumMod val="75000"/>
                  </a:schemeClr>
                </a:solidFill>
                <a:cs typeface="+mn-cs"/>
              </a:rPr>
              <a:t>שליטת המערכת הבנקאית בתיווך הפיננסי</a:t>
            </a:r>
            <a:endParaRPr lang="en-US" sz="2000" dirty="0">
              <a:solidFill>
                <a:schemeClr val="accent1">
                  <a:lumMod val="75000"/>
                </a:schemeClr>
              </a:solidFill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EB6CC19-4096-3031-7FD6-CEF9D71C1175}"/>
              </a:ext>
            </a:extLst>
          </p:cNvPr>
          <p:cNvSpPr txBox="1">
            <a:spLocks/>
          </p:cNvSpPr>
          <p:nvPr/>
        </p:nvSpPr>
        <p:spPr>
          <a:xfrm>
            <a:off x="1238749" y="1255423"/>
            <a:ext cx="2946752" cy="5595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IL"/>
            </a:defPPr>
            <a:lvl1pPr algn="ctr" rtl="1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r>
              <a:rPr lang="he-IL" sz="2000" dirty="0"/>
              <a:t>המערכת הבנקאית אינה שולטת בתיווך הפיננסי</a:t>
            </a:r>
            <a:endParaRPr lang="en-US" sz="2000" dirty="0"/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5CCF4383-E50F-8843-1E30-3294B5C38255}"/>
              </a:ext>
            </a:extLst>
          </p:cNvPr>
          <p:cNvSpPr/>
          <p:nvPr/>
        </p:nvSpPr>
        <p:spPr>
          <a:xfrm>
            <a:off x="9014774" y="5936763"/>
            <a:ext cx="812620" cy="288658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CB65FD3-7723-083A-493A-B67EED0B88CE}"/>
              </a:ext>
            </a:extLst>
          </p:cNvPr>
          <p:cNvSpPr txBox="1">
            <a:spLocks/>
          </p:cNvSpPr>
          <p:nvPr/>
        </p:nvSpPr>
        <p:spPr>
          <a:xfrm>
            <a:off x="979537" y="6149045"/>
            <a:ext cx="4593683" cy="403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sz="2000" b="1" dirty="0">
                <a:solidFill>
                  <a:schemeClr val="accent1">
                    <a:lumMod val="75000"/>
                  </a:schemeClr>
                </a:solidFill>
                <a:latin typeface="Aharoni" panose="02010803020104030203" pitchFamily="2" charset="-79"/>
                <a:ea typeface="Times New Roman" panose="02020603050405020304" pitchFamily="18" charset="0"/>
                <a:cs typeface="Aharoni" panose="02010803020104030203" pitchFamily="2" charset="-79"/>
              </a:rPr>
              <a:t>היום: 2025</a:t>
            </a:r>
            <a:endParaRPr lang="en-IL" sz="2400" b="1" dirty="0">
              <a:solidFill>
                <a:srgbClr val="C00000"/>
              </a:solidFill>
              <a:highlight>
                <a:srgbClr val="FFFF00"/>
              </a:highlight>
              <a:cs typeface="+mn-cs"/>
            </a:endParaRPr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CBE349A3-DB90-24FD-0928-5D51785DE969}"/>
              </a:ext>
            </a:extLst>
          </p:cNvPr>
          <p:cNvSpPr/>
          <p:nvPr/>
        </p:nvSpPr>
        <p:spPr>
          <a:xfrm>
            <a:off x="2870069" y="5972705"/>
            <a:ext cx="812620" cy="288658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D99C39D-A320-5F4E-303D-42E7C046E2E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I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58F7A46-AFB6-4901-858D-172240B760E7}" type="slidenum">
              <a:rPr lang="en-IL" sz="1200" smtClean="0"/>
              <a:pPr algn="r"/>
              <a:t>2</a:t>
            </a:fld>
            <a:endParaRPr lang="en-IL" sz="12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D1617FD-4F83-40EA-FCD4-A3A275E83C7D}"/>
              </a:ext>
            </a:extLst>
          </p:cNvPr>
          <p:cNvSpPr txBox="1">
            <a:spLocks/>
          </p:cNvSpPr>
          <p:nvPr/>
        </p:nvSpPr>
        <p:spPr>
          <a:xfrm>
            <a:off x="7032396" y="6447121"/>
            <a:ext cx="3780941" cy="2886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he-IL" sz="2000" b="1" dirty="0">
                <a:solidFill>
                  <a:schemeClr val="accent1">
                    <a:lumMod val="75000"/>
                  </a:schemeClr>
                </a:solidFill>
                <a:latin typeface="Aharoni" panose="02010803020104030203" pitchFamily="2" charset="-79"/>
                <a:ea typeface="Times New Roman" panose="02020603050405020304" pitchFamily="18" charset="0"/>
                <a:cs typeface="Aharoni" panose="02010803020104030203" pitchFamily="2" charset="-79"/>
              </a:rPr>
              <a:t>אז: שקף מתוך מצגת ועדת בכר </a:t>
            </a:r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latin typeface="Aharoni" panose="02010803020104030203" pitchFamily="2" charset="-79"/>
                <a:ea typeface="Times New Roman" panose="02020603050405020304" pitchFamily="18" charset="0"/>
                <a:cs typeface="Aharoni" panose="02010803020104030203" pitchFamily="2" charset="-79"/>
              </a:rPr>
              <a:t>(כולל הכותרת)</a:t>
            </a:r>
          </a:p>
          <a:p>
            <a:pPr algn="r"/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נובמבר 2004</a:t>
            </a:r>
            <a:br>
              <a:rPr lang="he-IL" sz="2400" b="1" dirty="0">
                <a:solidFill>
                  <a:srgbClr val="C00000"/>
                </a:solidFill>
                <a:cs typeface="+mn-cs"/>
              </a:rPr>
            </a:br>
            <a:endParaRPr lang="en-IL" sz="2400" b="1" dirty="0">
              <a:solidFill>
                <a:srgbClr val="C00000"/>
              </a:solidFill>
              <a:highlight>
                <a:srgbClr val="FFFF00"/>
              </a:highlight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F32208C-4DAB-36D8-097A-2C52526068D5}"/>
              </a:ext>
            </a:extLst>
          </p:cNvPr>
          <p:cNvSpPr/>
          <p:nvPr/>
        </p:nvSpPr>
        <p:spPr>
          <a:xfrm>
            <a:off x="7256572" y="3077848"/>
            <a:ext cx="4513941" cy="952107"/>
          </a:xfrm>
          <a:prstGeom prst="rect">
            <a:avLst/>
          </a:prstGeom>
          <a:noFill/>
          <a:ln w="222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4B6B5B4-A905-8E60-DE40-5B3EB36A86F3}"/>
              </a:ext>
            </a:extLst>
          </p:cNvPr>
          <p:cNvSpPr/>
          <p:nvPr/>
        </p:nvSpPr>
        <p:spPr>
          <a:xfrm>
            <a:off x="421487" y="3037807"/>
            <a:ext cx="6169623" cy="977362"/>
          </a:xfrm>
          <a:prstGeom prst="rect">
            <a:avLst/>
          </a:prstGeom>
          <a:noFill/>
          <a:ln w="222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728426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 animBg="1"/>
      <p:bldP spid="24" grpId="0" animBg="1"/>
      <p:bldP spid="2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CD994D-A851-23E5-85CA-7982855D1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A3293F-89E3-9FBA-5023-E93E3DCBE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60" imgH="360" progId="TCLayout.ActiveDocument.1">
                  <p:embed/>
                </p:oleObj>
              </mc:Choice>
              <mc:Fallback>
                <p:oleObj name="think-cell Slide" r:id="rId42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3293F-89E3-9FBA-5023-E93E3DCBE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331A2C25-0428-C4B6-4373-B1F453BD8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84" y="201168"/>
            <a:ext cx="11228832" cy="630936"/>
          </a:xfrm>
        </p:spPr>
        <p:txBody>
          <a:bodyPr vert="horz">
            <a:noAutofit/>
          </a:bodyPr>
          <a:lstStyle/>
          <a:p>
            <a:pPr algn="r"/>
            <a:r>
              <a:rPr lang="he-IL" sz="3200" dirty="0">
                <a:cs typeface="+mn-cs"/>
              </a:rPr>
              <a:t>התפתחות בתחום הגמל – נתח השוק של 5 הגופים הגדולים</a:t>
            </a:r>
            <a:endParaRPr lang="en-US" sz="3200" dirty="0">
              <a:cs typeface="+mn-cs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ADBCD982-0369-D180-81B1-0656E98A4B1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569589"/>
              </p:ext>
            </p:extLst>
          </p:nvPr>
        </p:nvGraphicFramePr>
        <p:xfrm>
          <a:off x="2201863" y="2422525"/>
          <a:ext cx="79375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19372C7-070F-526A-F75F-EBD13CA8541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425825" y="308610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A7BEE6-67C5-4153-927D-A3AACE35A490}" type="datetime'''''''''''''''''''5''''''''''''''''''''''''''''''''''''%'''">
              <a:rPr lang="en-US" altLang="en-US" sz="1400" smtClean="0">
                <a:solidFill>
                  <a:schemeClr val="bg1"/>
                </a:solidFill>
              </a:rPr>
              <a:pPr/>
              <a:t>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7AA2FCCC-F882-8A95-0978-A0AB20EF384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425825" y="3362325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DDF3F4-F732-4F30-B91B-E4F74B7BAD2C}" type="datetime'6''''''''''''''''''''''''''''''''''%'''''''''''''''">
              <a:rPr lang="en-US" altLang="en-US" sz="1400" smtClean="0">
                <a:solidFill>
                  <a:schemeClr val="bg1"/>
                </a:solidFill>
              </a:rPr>
              <a:pPr/>
              <a:t>6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76613" y="3763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C11A7B-A848-4F29-B3AC-A40B22F2BF95}" type="datetime'''''1''''''''''''''''0''''''''''''%'">
              <a:rPr lang="en-US" altLang="en-US" sz="1400" smtClean="0">
                <a:solidFill>
                  <a:schemeClr val="bg1"/>
                </a:solidFill>
                <a:effectLst/>
              </a:rPr>
              <a:pPr/>
              <a:t>10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76613" y="438943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ED1B53-4424-4443-A6B7-F63009B5A4FC}" type="datetime'''''''1''''''''''''5''''''''''''''%''''''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C712B4C-B1D3-10ED-4BD3-DA42E5C0F7F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76613" y="50165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74A385-B03C-4F89-B1C1-57A2013B4965}" type="datetime'''''''''''''''10''''''''''''''''%'''''">
              <a:rPr lang="en-US" altLang="en-US" sz="1400" smtClean="0">
                <a:solidFill>
                  <a:schemeClr val="bg1"/>
                </a:solidFill>
              </a:rPr>
              <a:pPr/>
              <a:t>10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76613" y="54213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2F482D-D5C6-4B69-A24D-FBFB8E9A56E4}" type="datetime'''''2''''''''''''''''''''0''''''''14'''''''''''''''''''">
              <a:rPr lang="en-US" altLang="en-US" sz="14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US" sz="14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14A4C74-37EE-E539-73D0-AD2EB0A0A41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25" y="258445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88CC1B-BC04-4FDC-AD18-DEB9B05BB30C}" type="datetime'7%'''''''''''''''''">
              <a:rPr lang="en-US" altLang="en-US" sz="1400" smtClean="0">
                <a:solidFill>
                  <a:schemeClr val="bg1"/>
                </a:solidFill>
              </a:rPr>
              <a:pPr/>
              <a:t>7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69C95BB-AC90-A1C8-BFBB-CFCC15AE09D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67413" y="33877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67E809-754E-46F2-9D32-072462928F29}" type="datetime'''''''25''''''''''%'">
              <a:rPr lang="en-US" altLang="en-US" sz="1400" smtClean="0"/>
              <a:pPr/>
              <a:t>25%</a:t>
            </a:fld>
            <a:endParaRPr lang="en-US" sz="14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25" y="42148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59FE71-EE7A-413C-9E59-742DFA667804}" type="datetime'''8''''''''%'''''''''''''">
              <a:rPr lang="en-US" altLang="en-US" sz="1400" smtClean="0">
                <a:solidFill>
                  <a:schemeClr val="bg1"/>
                </a:solidFill>
              </a:rPr>
              <a:pPr/>
              <a:t>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6625" y="464026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F0A056-0AB3-4C22-BAC1-C4DD149EB238}" type="datetime'''''''''9''''''''''''''''''''''''''''''''%'">
              <a:rPr lang="en-US" altLang="en-US" sz="1400" smtClean="0">
                <a:solidFill>
                  <a:schemeClr val="bg1"/>
                </a:solidFill>
              </a:rPr>
              <a:pPr/>
              <a:t>9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62152CA-0CFB-C5D6-77DB-829DC78534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016625" y="50657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FFAC6A8-6FFF-4A21-9A89-BAF5855C514E}" type="datetime'8%'''''''''''''''''''''''''''''''''''''''''''''''''''''''''''">
              <a:rPr lang="en-US" altLang="en-US" sz="1400" smtClean="0">
                <a:solidFill>
                  <a:schemeClr val="bg1"/>
                </a:solidFill>
              </a:rPr>
              <a:pPr/>
              <a:t>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67413" y="54213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E30B34-83FC-4100-BF06-6BC11E9CBFDA}" type="datetime'2''''''''''0''''''''2''''''0''''''''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607425" y="278606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4526F3-55E0-491D-9211-5041EF9E143A}" type="datetime'''''''''''''9''''''''''''''''''''''''''''''''''''''''%'">
              <a:rPr lang="en-US" altLang="en-US" sz="1400" smtClean="0">
                <a:solidFill>
                  <a:schemeClr val="bg1"/>
                </a:solidFill>
              </a:rPr>
              <a:pPr/>
              <a:t>9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F436AA8-EB24-C76F-1048-4B404916299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607425" y="323691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E3C3F5-713F-446E-B0C4-AE209883F8D8}" type="datetime'''''''''9''%'''''''''''''''''''''''''''''">
              <a:rPr lang="en-US" altLang="en-US" sz="1400" smtClean="0">
                <a:solidFill>
                  <a:schemeClr val="bg1"/>
                </a:solidFill>
              </a:rPr>
              <a:pPr/>
              <a:t>9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DB9ACD2-6216-079E-25DE-FA70163BA4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607425" y="3687763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0EAA89-E86E-4263-981A-9B7AF42B3345}" type="datetime'''''''''''9''''''%'''''''''''''">
              <a:rPr lang="en-US" altLang="en-US" sz="1400" smtClean="0"/>
              <a:pPr/>
              <a:t>9%</a:t>
            </a:fld>
            <a:endParaRPr lang="en-US" sz="14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B839734-4DFB-E265-F0E1-2E5D445FB6D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58213" y="42894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9F42F2-FBF9-4AA1-9925-BC18D8B7F25C}" type="datetime'''''15''''''''''''''''''''''''''''''''''''%'''''''">
              <a:rPr lang="en-US" altLang="en-US" sz="1400" smtClean="0"/>
              <a:pPr/>
              <a:t>15%</a:t>
            </a:fld>
            <a:endParaRPr lang="en-US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EB9D9EE-94AF-60C1-854E-9B6666EB9CA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558213" y="49657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E16E5B-4A19-43BC-9B62-65EDF2A922ED}" type="datetime'''''1''2''''%'''''''''''''''''''''''''''''''''''''''''">
              <a:rPr lang="en-US" altLang="en-US" sz="1400" smtClean="0">
                <a:solidFill>
                  <a:schemeClr val="bg1"/>
                </a:solidFill>
              </a:rPr>
              <a:pPr/>
              <a:t>12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558213" y="54213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9E3FBED-9A3C-4E2D-B8DA-FC320CF6629D}" type="datetime'''''''''''''''''''2''''''''''''''''''024'''''">
              <a:rPr lang="en-US" altLang="en-US" sz="1400" smtClean="0"/>
              <a:pPr/>
              <a:t>2024</a:t>
            </a:fld>
            <a:endParaRPr 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413125" y="2773247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789E1A-0482-4CDB-9F0B-649E330026D1}" type="datetime'''''''''''''''''''''''''''''''''''''''4''''''''6''''''%'''">
              <a:rPr lang="en-US" altLang="en-US" sz="1400" smtClean="0"/>
              <a:pPr/>
              <a:t>46%</a:t>
            </a:fld>
            <a:endParaRPr lang="en-US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62973" y="2255044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3D3081-8FF8-46EA-B77B-B287D19860F2}" type="datetime'''''''''''''''''''''''''''5''''''''''7''''''''%'''''''''">
              <a:rPr lang="en-US" altLang="en-US" sz="1400" smtClean="0"/>
              <a:pPr/>
              <a:t>57%</a:t>
            </a:fld>
            <a:endParaRPr 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580765" y="2363789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FD7EB8-E09E-42EA-AE71-F6D53DDDC355}" type="datetime'''''''''''''''''5''''4''''''''''%'''''''''''''''''''''''''''">
              <a:rPr lang="en-US" altLang="en-US" sz="1400" smtClean="0"/>
              <a:pPr/>
              <a:t>54%</a:t>
            </a:fld>
            <a:endParaRPr lang="en-US" sz="14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75F3095-87C9-5FFE-3DFC-C56B2CA6289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355850" y="6024563"/>
            <a:ext cx="250825" cy="1873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3C4A8BB-4217-5053-DECE-58988082EC0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006725" y="6024563"/>
            <a:ext cx="250825" cy="187325"/>
          </a:xfrm>
          <a:prstGeom prst="rect">
            <a:avLst/>
          </a:prstGeom>
          <a:solidFill>
            <a:srgbClr val="46B1E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0EAEF0F-818A-5619-4C57-5E9A83195426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819525" y="6024563"/>
            <a:ext cx="250825" cy="187325"/>
          </a:xfrm>
          <a:prstGeom prst="rect">
            <a:avLst/>
          </a:prstGeom>
          <a:solidFill>
            <a:srgbClr val="33669C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A90E3A7-C0C1-5D1C-5E6E-C228E3E19C4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32338" y="6024563"/>
            <a:ext cx="250825" cy="187325"/>
          </a:xfrm>
          <a:prstGeom prst="rect">
            <a:avLst/>
          </a:prstGeom>
          <a:solidFill>
            <a:srgbClr val="FFCFA0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54FDC7F-8DB0-7779-B6CF-AC24ABC9882F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376863" y="6024563"/>
            <a:ext cx="250825" cy="187325"/>
          </a:xfrm>
          <a:prstGeom prst="rect">
            <a:avLst/>
          </a:prstGeom>
          <a:solidFill>
            <a:srgbClr val="FEB56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7B419B7-1B56-BACA-3543-96EA8315B1F7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794500" y="6024563"/>
            <a:ext cx="250825" cy="187325"/>
          </a:xfrm>
          <a:prstGeom prst="rect">
            <a:avLst/>
          </a:prstGeom>
          <a:solidFill>
            <a:srgbClr val="6B370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FABE58A-31D7-F732-F2A6-8A0EA5A44D7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935913" y="6024563"/>
            <a:ext cx="250825" cy="187325"/>
          </a:xfrm>
          <a:prstGeom prst="rect">
            <a:avLst/>
          </a:prstGeom>
          <a:solidFill>
            <a:srgbClr val="BD6F0F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DDA89D8-FE2C-2959-73C5-1FDDDDE4BAAE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767763" y="6024563"/>
            <a:ext cx="250825" cy="187325"/>
          </a:xfrm>
          <a:prstGeom prst="rect">
            <a:avLst/>
          </a:prstGeom>
          <a:solidFill>
            <a:srgbClr val="DD911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657475" y="6035675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C188A1-7456-497C-8020-8BF2738D4F6E}" type="datetime'''''''''''''''''''''''''כ''''''ל''ל'''">
              <a:rPr lang="he-IL" altLang="en-US" sz="1400" smtClean="0"/>
              <a:pPr/>
              <a:t>כלל</a:t>
            </a:fld>
            <a:endParaRPr lang="en-US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308350" y="6035675"/>
            <a:ext cx="409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601E67B-27D1-4875-BD8B-3E66678BA7A5}" type="datetime'''''''מ''''''''''''נ''''''''''''''''''''''''ו''ר''''''''''ה'''">
              <a:rPr lang="he-IL" altLang="en-US" sz="1400" smtClean="0"/>
              <a:pPr/>
              <a:t>מנורה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21150" y="6035675"/>
            <a:ext cx="509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91CF26-647B-4B35-8F09-08897FF92616}" type="datetime'ה''''''''''''''פ''''''''''נ''י''''''''ק''ס'''''''''''">
              <a:rPr lang="he-IL" altLang="en-US" sz="1400" smtClean="0"/>
              <a:pPr/>
              <a:t>הפניקס</a:t>
            </a:fld>
            <a:endParaRPr lang="en-US" sz="14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033963" y="60356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5C0983-7183-48FD-BC2A-79564F65DAD3}" type="datetime'''מ''''''ו''''''''''''''''ר'''">
              <a:rPr lang="he-IL" altLang="en-US" sz="1400" smtClean="0"/>
              <a:pPr/>
              <a:t>מור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36998ED-E64C-C75C-B4C7-82D51983AC0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78488" y="6035675"/>
            <a:ext cx="1014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487ECB8-DF25-4549-9223-C728A6AF762B}" type="datetime'''א''''ל''''''טשו''ל''ר'' ''''''''''ש''''ח''''ם'''''''''">
              <a:rPr lang="he-IL" altLang="en-US" sz="1400" smtClean="0"/>
              <a:pPr/>
              <a:t>אלטשולר שחם</a:t>
            </a:fld>
            <a:endParaRPr lang="en-US" sz="14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096125" y="6035675"/>
            <a:ext cx="738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15BC23-9303-4CC0-A77C-1FEA9203D9B5}" type="datetime'''''י''''''''''ל''''''''ין ''''''ל''''''פ''''''יד''ו''''''ת'">
              <a:rPr lang="he-IL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ילין לפידות</a:t>
            </a:fld>
            <a:endParaRPr 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6E55BC-DDC2-DA1A-A6C2-D90EF11069D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237538" y="6035675"/>
            <a:ext cx="428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C188CB9-A5C0-45F4-B1BF-9E28ABACC7A0}" type="datetime'''''''''''''''''''פ''''''''''''''''סג''''ו''''''''''''ת'''''''">
              <a:rPr lang="he-IL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פסגות</a:t>
            </a:fld>
            <a:endParaRPr lang="en-US" sz="140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A34A2CA-61B7-957A-F27A-6D2B48D7100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069388" y="6035675"/>
            <a:ext cx="352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7C75CFF-E71E-4557-83A7-5E033D8DBE86}" type="datetime'מ''''''''''''''''י''''''''ט''''ב'''''''''''">
              <a:rPr lang="he-IL" altLang="en-US" sz="1400" smtClean="0"/>
              <a:pPr/>
              <a:t>מיטב</a:t>
            </a:fld>
            <a:endParaRPr lang="en-US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FACE7F-5602-28B0-6079-E21D869332FC}"/>
              </a:ext>
            </a:extLst>
          </p:cNvPr>
          <p:cNvSpPr/>
          <p:nvPr/>
        </p:nvSpPr>
        <p:spPr>
          <a:xfrm>
            <a:off x="3006725" y="2982246"/>
            <a:ext cx="1282471" cy="611982"/>
          </a:xfrm>
          <a:prstGeom prst="rect">
            <a:avLst/>
          </a:prstGeom>
          <a:noFill/>
          <a:ln w="15875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7FEDEC-7F0C-72BB-4300-D4CB1AC9F667}"/>
              </a:ext>
            </a:extLst>
          </p:cNvPr>
          <p:cNvSpPr/>
          <p:nvPr/>
        </p:nvSpPr>
        <p:spPr>
          <a:xfrm>
            <a:off x="5559663" y="2422525"/>
            <a:ext cx="1282471" cy="409272"/>
          </a:xfrm>
          <a:prstGeom prst="rect">
            <a:avLst/>
          </a:prstGeom>
          <a:noFill/>
          <a:ln w="15875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9A6E96-8506-172F-37B4-43B779856957}"/>
              </a:ext>
            </a:extLst>
          </p:cNvPr>
          <p:cNvSpPr/>
          <p:nvPr/>
        </p:nvSpPr>
        <p:spPr>
          <a:xfrm>
            <a:off x="8186738" y="2545480"/>
            <a:ext cx="1282471" cy="989164"/>
          </a:xfrm>
          <a:prstGeom prst="rect">
            <a:avLst/>
          </a:prstGeom>
          <a:noFill/>
          <a:ln w="15875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572200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3E018-E5C0-F01E-E3CF-27B8E8532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A2BE585-2A9C-77E8-B8AB-5F278B9293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BE585-2A9C-77E8-B8AB-5F278B929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CF309B45-712F-6C0C-2B62-0352182AF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84" y="201168"/>
            <a:ext cx="11228832" cy="630936"/>
          </a:xfrm>
        </p:spPr>
        <p:txBody>
          <a:bodyPr vert="horz">
            <a:normAutofit/>
          </a:bodyPr>
          <a:lstStyle/>
          <a:p>
            <a:pPr algn="r"/>
            <a:r>
              <a:rPr lang="he-IL" sz="3200" dirty="0">
                <a:cs typeface="+mn-cs"/>
              </a:rPr>
              <a:t>קרנות נאמנות – תמונת מצב</a:t>
            </a:r>
            <a:endParaRPr lang="en-US" sz="3200" dirty="0"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A2E5C56-F7F5-26EB-9276-1D90F67F766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456206" y="3026021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4C4CD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DAC4712-0B41-4817-A047-A3B9C3A2455D}" type="datetime'''''''''''''''''1''''5''''''''%'''''">
              <a:rPr lang="en-US" altLang="en-US" sz="1400" smtClean="0">
                <a:solidFill>
                  <a:schemeClr val="bg1"/>
                </a:solidFill>
              </a:rPr>
              <a:pPr/>
              <a:t>1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83C6D28-72EB-F091-D98A-EBECE4B440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462556" y="4626221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626876-8B37-4481-967F-2A4180DE8B32}" type="datetime'''''''''''''''''''''''''''''''''''''11%'''''''''''''''''''''">
              <a:rPr lang="en-US" altLang="en-US" sz="1400" smtClean="0">
                <a:solidFill>
                  <a:schemeClr val="bg1"/>
                </a:solidFill>
              </a:rPr>
              <a:pPr/>
              <a:t>11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73A280-42E9-FF34-F9FA-EE43C40CC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89600" y="46370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26A1EF-E360-4B55-9E74-CE54DACD1634}" type="datetime'''''''''''''''''13%'''''''''''''''''''''''''''">
              <a:rPr lang="en-US" altLang="en-US" sz="1400" smtClean="0">
                <a:solidFill>
                  <a:schemeClr val="bg1"/>
                </a:solidFill>
              </a:rPr>
              <a:pPr/>
              <a:t>13%</a:t>
            </a:fld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9824BF-1027-1F40-913B-EC13B5CAF45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7433" t="32202" r="29375" b="6414"/>
          <a:stretch>
            <a:fillRect/>
          </a:stretch>
        </p:blipFill>
        <p:spPr>
          <a:xfrm>
            <a:off x="6429080" y="987440"/>
            <a:ext cx="5028056" cy="536485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3F16D96-FCC8-8AC1-C6B6-DDD9BA565001}"/>
              </a:ext>
            </a:extLst>
          </p:cNvPr>
          <p:cNvSpPr/>
          <p:nvPr/>
        </p:nvSpPr>
        <p:spPr>
          <a:xfrm>
            <a:off x="777808" y="5920430"/>
            <a:ext cx="4618399" cy="611982"/>
          </a:xfrm>
          <a:prstGeom prst="rect">
            <a:avLst/>
          </a:prstGeom>
          <a:noFill/>
          <a:ln w="15875">
            <a:noFill/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e-IL" b="1" dirty="0">
                <a:solidFill>
                  <a:schemeClr val="tx1"/>
                </a:solidFill>
              </a:rPr>
              <a:t>מתוך דו"ח פעילת קרנות נאמנות בישראל 2024, רשות ניירות ערך</a:t>
            </a:r>
            <a:endParaRPr lang="en-IL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714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A230BC8-D3E1-41BA-2CF0-BFCB582710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230BC8-D3E1-41BA-2CF0-BFCB58271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5A622172-DF8B-DDCF-CB34-A255B2601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84" y="201168"/>
            <a:ext cx="11228832" cy="630936"/>
          </a:xfrm>
        </p:spPr>
        <p:txBody>
          <a:bodyPr vert="horz">
            <a:noAutofit/>
          </a:bodyPr>
          <a:lstStyle/>
          <a:p>
            <a:pPr algn="r"/>
            <a:r>
              <a:rPr lang="he-IL" sz="3200" dirty="0">
                <a:cs typeface="+mn-cs"/>
              </a:rPr>
              <a:t>כניסת בתי ההשקעות לתחום הפנסיה- חלקם בפנסיות חדשות</a:t>
            </a:r>
            <a:endParaRPr lang="en-US" sz="3200" dirty="0">
              <a:cs typeface="+mn-cs"/>
            </a:endParaRP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BBC5B55B-A227-1BB3-58C7-3B006D75B5D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025231"/>
              </p:ext>
            </p:extLst>
          </p:nvPr>
        </p:nvGraphicFramePr>
        <p:xfrm>
          <a:off x="1662113" y="2536825"/>
          <a:ext cx="873283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A4B8A22-95CF-04A3-E141-BDFE4CB3295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68625" y="55356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B6C335-8CCF-4139-9DD2-5BF338CCFB65}" type="datetime'''''''''''''''''2''''01''''''''''''''''''''''''''4'">
              <a:rPr lang="en-US" altLang="en-US" sz="1400" smtClean="0"/>
              <a:pPr/>
              <a:t>2014</a:t>
            </a:fld>
            <a:endParaRPr lang="en-US" sz="14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63D946F-A2D0-EA36-49B9-1EBE3F211C8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24538" y="55356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CCF508-8216-4C7D-98CA-08A3532FE0B3}" type="datetime'''2''''''''''''''''''02''0''''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62A1889-A85C-8C1B-4BDF-54CC8F44470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017838" y="5259388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300AC6-82BF-4DE5-A5B5-316FF3CF32AA}" type="datetime'''''''''''''''''''''''''''''0''''%'''''''''''''''''''''''">
              <a:rPr lang="en-US" altLang="en-US" sz="1400" smtClean="0"/>
              <a:pPr/>
              <a:t>0%</a:t>
            </a:fld>
            <a:endParaRPr lang="en-US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A566FA3-7C5E-D3A6-E98D-7E3B023F07A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873750" y="3441700"/>
            <a:ext cx="307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58882-FDB4-41EE-98EA-E4942A756318}" type="datetime'''7''''''''''''''''''''''''''''''''''''%'''''''''''''''''">
              <a:rPr lang="en-US" altLang="en-US" sz="1400" smtClean="0"/>
              <a:pPr/>
              <a:t>7%</a:t>
            </a:fld>
            <a:endParaRPr lang="en-US" sz="14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DE8385C-E797-53E3-C7E6-EE26D9BE167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680450" y="55356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894934-1F48-49BD-A1B9-6B17BEFD3D33}" type="datetime'''''''''''''''''''''2''''''''''''''''''''''''''0''24'">
              <a:rPr lang="en-US" altLang="en-US" sz="1400" smtClean="0"/>
              <a:pPr/>
              <a:t>2024</a:t>
            </a:fld>
            <a:endParaRPr lang="en-US" sz="14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99BFDD3-9D20-B0E7-A5C7-7986CF215E8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686800" y="2401888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630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F76011-F467-46EC-9D5B-B6A6832F02EC}" type="datetime'''1''''''''''1%'">
              <a:rPr lang="en-US" altLang="en-US" sz="1400" smtClean="0"/>
              <a:pPr/>
              <a:t>11%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67681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46Rn3RUkeIXNjxOVa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yoDrMz2T0b9uwRPre1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2l3OYb4hLhzyNZfKdm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vrY_Jdq0vnQ_GlcaR5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ncJ9Ov.cU2lauGeHoc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lro3yq6IsT14MVF81h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bG2pLpsiqrb5yUll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qVctEdkqNwh3_vTQ3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zXVlGwUK5GrxR77.AC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byaF1VJwIfKgX8dqA9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63895109733427806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vRDGCRRJuTgMLC9AC3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2ng6wPYk1RdPbZqKpv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cNcnWOqLh3zWLZ5Rq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4s1rrvwCVsFtub5n9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VhYWqG.6l9aRfB1Xd.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vtetIwZUBVxw3unHW4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gbdBL.KvTS5uSHBkDY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HB5YPxzYdodacrWfry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UXNuFM52B77nK.0Yzi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iEChfhx2v6oOigxzmg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2byAEvE30BgThgaPO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RRw1A.XPp.77o3kcBT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zKJEXbrZmpFziAapj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3OPTGPr7eQczhqFbS7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Qi2.mpP.T03BDKJUhq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1GpaiiYDP_esze8F5i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ksOpFkdWbLJ5q5qu92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H7xiUA68gLLU36AOxZ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Q0J8qfmGrzJJlMd0.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qHiF2bSqHZqNskOe93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" val="Long vertical takeaway"/>
  <p:tag name="DYNAMICSHAPE" val="n__Long vertical takeaway"/>
  <p:tag name="SYMBOLCOLOR" val="single"/>
  <p:tag name="FIXEDPOSITION" val="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272ZGXZTDTKCwO4_5U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8wivgzzFb0HF6e3Ja_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SM_wstHr5fr7Va1XZ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Z3gT6jyT_DvPwLY54R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M_.EIWaowRrbkLFA9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9DMiYkrY6rM4dKwiHn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gmmnsKmCI9VBmy1q3o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TDb1JEfINCbeckYm71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638951094949057725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1P_1P2iAI_epWis5T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0iCvgdQpcKoaF.fPWx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Y8hThounfzfUBjCvb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krOsO04h_6HTogHzaW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Uys8SHl7s5S7GA19j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.YQLAvj_3h9DQDDBOa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d.9EGi3uXSrj6BISd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MWifqaeM_QpHi60NJ6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9DMiYkrY6rM4dKwiHn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PAcsfgniQtva5Vaiib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887</TotalTime>
  <Words>202</Words>
  <Application>Microsoft Office PowerPoint</Application>
  <PresentationFormat>Widescreen</PresentationFormat>
  <Paragraphs>104</Paragraphs>
  <Slides>5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  <vt:variant>
        <vt:lpstr>Custom Shows</vt:lpstr>
      </vt:variant>
      <vt:variant>
        <vt:i4>1</vt:i4>
      </vt:variant>
    </vt:vector>
  </HeadingPairs>
  <TitlesOfParts>
    <vt:vector size="15" baseType="lpstr">
      <vt:lpstr>Aharoni</vt:lpstr>
      <vt:lpstr>Arial</vt:lpstr>
      <vt:lpstr>Calibri</vt:lpstr>
      <vt:lpstr>Calibri Light</vt:lpstr>
      <vt:lpstr>EYInterstate Light</vt:lpstr>
      <vt:lpstr>Segoe UI</vt:lpstr>
      <vt:lpstr>Wingdings</vt:lpstr>
      <vt:lpstr>Office Theme</vt:lpstr>
      <vt:lpstr>think-cell Slide</vt:lpstr>
      <vt:lpstr> הצגת הממונה על התחרות הגב' מיכל כהן</vt:lpstr>
      <vt:lpstr>חלוקת הנכסים הפיננסים אז והיום  (מיליארדי ש"ח)</vt:lpstr>
      <vt:lpstr>התפתחות בתחום הגמל – נתח השוק של 5 הגופים הגדולים</vt:lpstr>
      <vt:lpstr>קרנות נאמנות – תמונת מצב</vt:lpstr>
      <vt:lpstr>כניסת בתי ההשקעות לתחום הפנסיה- חלקם בפנסיות חדשות</vt:lpstr>
      <vt:lpstr>Custom Show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ניודים</dc:title>
  <dc:creator>Naomi Shpirer</dc:creator>
  <cp:lastModifiedBy>Naomi Shpirer</cp:lastModifiedBy>
  <cp:revision>192</cp:revision>
  <dcterms:created xsi:type="dcterms:W3CDTF">2023-02-08T11:40:15Z</dcterms:created>
  <dcterms:modified xsi:type="dcterms:W3CDTF">2025-10-18T15:05:46Z</dcterms:modified>
</cp:coreProperties>
</file>